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2" r:id="rId1"/>
  </p:sldMasterIdLst>
  <p:notesMasterIdLst>
    <p:notesMasterId r:id="rId3"/>
  </p:notesMasterIdLst>
  <p:handoutMasterIdLst>
    <p:handoutMasterId r:id="rId4"/>
  </p:handoutMasterIdLst>
  <p:sldIdLst>
    <p:sldId id="48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>
          <p15:clr>
            <a:srgbClr val="A4A3A4"/>
          </p15:clr>
        </p15:guide>
        <p15:guide id="2" orient="horz" pos="589">
          <p15:clr>
            <a:srgbClr val="A4A3A4"/>
          </p15:clr>
        </p15:guide>
        <p15:guide id="3" orient="horz" pos="690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orient="horz" pos="3844">
          <p15:clr>
            <a:srgbClr val="A4A3A4"/>
          </p15:clr>
        </p15:guide>
        <p15:guide id="6" orient="horz" pos="3985">
          <p15:clr>
            <a:srgbClr val="A4A3A4"/>
          </p15:clr>
        </p15:guide>
        <p15:guide id="7" orient="horz" pos="2659">
          <p15:clr>
            <a:srgbClr val="A4A3A4"/>
          </p15:clr>
        </p15:guide>
        <p15:guide id="8" orient="horz" pos="3203">
          <p15:clr>
            <a:srgbClr val="A4A3A4"/>
          </p15:clr>
        </p15:guide>
        <p15:guide id="9" orient="horz" pos="3475">
          <p15:clr>
            <a:srgbClr val="A4A3A4"/>
          </p15:clr>
        </p15:guide>
        <p15:guide id="10" pos="316">
          <p15:clr>
            <a:srgbClr val="A4A3A4"/>
          </p15:clr>
        </p15:guide>
        <p15:guide id="11" pos="5532">
          <p15:clr>
            <a:srgbClr val="A4A3A4"/>
          </p15:clr>
        </p15:guide>
        <p15:guide id="12" pos="793">
          <p15:clr>
            <a:srgbClr val="A4A3A4"/>
          </p15:clr>
        </p15:guide>
        <p15:guide id="13" pos="3243">
          <p15:clr>
            <a:srgbClr val="A4A3A4"/>
          </p15:clr>
        </p15:guide>
        <p15:guide id="1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quel Studio" initials="SS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DFE5"/>
    <a:srgbClr val="F7F5F4"/>
    <a:srgbClr val="FB4F39"/>
    <a:srgbClr val="8EAFBF"/>
    <a:srgbClr val="3A4F5A"/>
    <a:srgbClr val="297DFD"/>
    <a:srgbClr val="FF94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89493" autoAdjust="0"/>
  </p:normalViewPr>
  <p:slideViewPr>
    <p:cSldViewPr showGuides="1">
      <p:cViewPr varScale="1">
        <p:scale>
          <a:sx n="104" d="100"/>
          <a:sy n="104" d="100"/>
        </p:scale>
        <p:origin x="2124" y="108"/>
      </p:cViewPr>
      <p:guideLst>
        <p:guide orient="horz" pos="1026"/>
        <p:guide orient="horz" pos="589"/>
        <p:guide orient="horz" pos="690"/>
        <p:guide orient="horz" pos="2160"/>
        <p:guide orient="horz" pos="3844"/>
        <p:guide orient="horz" pos="3985"/>
        <p:guide orient="horz" pos="2659"/>
        <p:guide orient="horz" pos="3203"/>
        <p:guide orient="horz" pos="3475"/>
        <p:guide pos="316"/>
        <p:guide pos="5532"/>
        <p:guide pos="793"/>
        <p:guide pos="3243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73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4935687898221383"/>
          <c:y val="7.5164341881444247E-2"/>
          <c:w val="0.38879739742232733"/>
          <c:h val="0.884753945135617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m of 2009(a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B$2:$B$8</c:f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m of 2010(a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C$2:$C$8</c:f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m of 2011(a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D$2:$D$8</c:f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m of 2012(a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E$2:$E$8</c:f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um of 2013(a)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1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2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3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4"/>
            <c:invertIfNegative val="0"/>
            <c:bubble3D val="0"/>
            <c:spPr>
              <a:solidFill>
                <a:srgbClr val="FAA100"/>
              </a:solidFill>
            </c:spPr>
          </c:dPt>
          <c:dPt>
            <c:idx val="5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6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7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8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9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10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11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FDC630"/>
              </a:solidFill>
            </c:spPr>
          </c:dPt>
          <c:dPt>
            <c:idx val="13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14"/>
            <c:invertIfNegative val="0"/>
            <c:bubble3D val="0"/>
            <c:spPr>
              <a:solidFill>
                <a:srgbClr val="F9A53A"/>
              </a:solidFill>
            </c:spPr>
          </c:dPt>
          <c:dPt>
            <c:idx val="15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16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17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18"/>
            <c:invertIfNegative val="0"/>
            <c:bubble3D val="0"/>
            <c:spPr>
              <a:solidFill>
                <a:srgbClr val="FAA100"/>
              </a:solidFill>
            </c:spPr>
          </c:dPt>
          <c:dPt>
            <c:idx val="19"/>
            <c:invertIfNegative val="0"/>
            <c:bubble3D val="0"/>
            <c:spPr>
              <a:solidFill>
                <a:srgbClr val="C00000"/>
              </a:solidFill>
            </c:spPr>
          </c:dPt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F$2:$F$8</c:f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um of 2014(a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G$2:$G$8</c:f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um of 2015(f)*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H$2:$H$8</c:f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Sum of 2016(f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I$2:$I$8</c:f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Sum of 2017(f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J$2:$J$8</c:f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Sum of 2018(f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K$2:$K$8</c:f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Sum of 2019(f)</c:v>
                </c:pt>
              </c:strCache>
            </c:strRef>
          </c:tx>
          <c:invertIfNegative val="0"/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L$2:$L$8</c:f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 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Unterarm</c:v>
                </c:pt>
                <c:pt idx="1">
                  <c:v>Handgelenk</c:v>
                </c:pt>
                <c:pt idx="2">
                  <c:v>Schulter und Oberarm</c:v>
                </c:pt>
                <c:pt idx="3">
                  <c:v>Fuß und Zehen, ohne Knöchel</c:v>
                </c:pt>
                <c:pt idx="4">
                  <c:v>Unterschenkel, einschließlich Knöchel</c:v>
                </c:pt>
                <c:pt idx="5">
                  <c:v>Schädel- und Gesichtsknochen</c:v>
                </c:pt>
                <c:pt idx="6">
                  <c:v>Sonstige</c:v>
                </c:pt>
              </c:strCache>
            </c:strRef>
          </c:cat>
          <c:val>
            <c:numRef>
              <c:f>Sheet1!$M$2:$M$8</c:f>
              <c:numCache>
                <c:formatCode>0.0%</c:formatCode>
                <c:ptCount val="7"/>
                <c:pt idx="0">
                  <c:v>0.35300000000000004</c:v>
                </c:pt>
                <c:pt idx="1">
                  <c:v>0.19300000000000003</c:v>
                </c:pt>
                <c:pt idx="2">
                  <c:v>0.16300000000000003</c:v>
                </c:pt>
                <c:pt idx="3">
                  <c:v>0.14400000000000002</c:v>
                </c:pt>
                <c:pt idx="4">
                  <c:v>7.7000000000000013E-2</c:v>
                </c:pt>
                <c:pt idx="5">
                  <c:v>4.1000000000000002E-2</c:v>
                </c:pt>
                <c:pt idx="6">
                  <c:v>2.9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axId val="557197504"/>
        <c:axId val="557200640"/>
      </c:barChart>
      <c:catAx>
        <c:axId val="55719750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aseline="0">
                <a:latin typeface="Arial" pitchFamily="34" charset="0"/>
                <a:cs typeface="Arial" pitchFamily="34" charset="0"/>
              </a:defRPr>
            </a:pPr>
            <a:endParaRPr lang="de-DE"/>
          </a:p>
        </c:txPr>
        <c:crossAx val="557200640"/>
        <c:crosses val="autoZero"/>
        <c:auto val="1"/>
        <c:lblAlgn val="ctr"/>
        <c:lblOffset val="100"/>
        <c:noMultiLvlLbl val="0"/>
      </c:catAx>
      <c:valAx>
        <c:axId val="557200640"/>
        <c:scaling>
          <c:orientation val="minMax"/>
        </c:scaling>
        <c:delete val="1"/>
        <c:axPos val="t"/>
        <c:numFmt formatCode="0.0%" sourceLinked="1"/>
        <c:majorTickMark val="out"/>
        <c:minorTickMark val="none"/>
        <c:tickLblPos val="none"/>
        <c:crossAx val="557197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2E57F-2F33-4E95-833C-6DE92AD23B45}" type="datetimeFigureOut">
              <a:rPr lang="en-US"/>
              <a:pPr/>
              <a:t>8/17/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65A410-77E2-40EA-8701-9B225C64A9EE}" type="slidenum">
              <a:rPr/>
              <a:p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91423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D7382CE9-F2D0-4D2E-B7F9-BF3E83248BCE}" type="datetimeFigureOut">
              <a:rPr lang="de-DE" smtClean="0"/>
              <a:pPr/>
              <a:t>17.08.2017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A3691C38-742D-4867-9E00-215CBC02331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0081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1A4F6A2-D8D8-4FFE-B550-AC960D400C47}" type="datetime1">
              <a:rPr lang="en-US" smtClean="0"/>
              <a:pPr/>
              <a:t>8/17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944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36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4" descr="IMS_Health_PPT_cover_revised_final.jpg"/>
          <p:cNvPicPr>
            <a:picLocks noChangeAspect="1"/>
          </p:cNvPicPr>
          <p:nvPr userDrawn="1"/>
        </p:nvPicPr>
        <p:blipFill>
          <a:blip r:embed="rId6" cstate="print"/>
          <a:srcRect l="12901" t="2299" r="37731" b="18835"/>
          <a:stretch>
            <a:fillRect/>
          </a:stretch>
        </p:blipFill>
        <p:spPr>
          <a:xfrm>
            <a:off x="3721100" y="3175"/>
            <a:ext cx="5422900" cy="5773271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Nam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699"/>
            <a:ext cx="5697126" cy="373063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sp>
        <p:nvSpPr>
          <p:cNvPr id="20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pic>
        <p:nvPicPr>
          <p:cNvPr id="13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5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8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6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6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2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060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5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2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34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e Spalt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5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38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5" t="29638" r="57232" b="17311"/>
          <a:stretch/>
        </p:blipFill>
        <p:spPr>
          <a:xfrm>
            <a:off x="4119154" y="0"/>
            <a:ext cx="5024846" cy="5939821"/>
          </a:xfrm>
          <a:prstGeom prst="rect">
            <a:avLst/>
          </a:prstGeom>
        </p:spPr>
      </p:pic>
      <p:sp>
        <p:nvSpPr>
          <p:cNvPr id="12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569712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smtClean="0"/>
              <a:t>Title</a:t>
            </a:r>
            <a:endParaRPr lang="de-DE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pic>
        <p:nvPicPr>
          <p:cNvPr id="11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7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7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83565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7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01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Spalten - ohne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6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3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27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500064" y="935039"/>
            <a:ext cx="8281986" cy="230065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500062" y="3249497"/>
            <a:ext cx="828198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>
              <a:latin typeface="Arial"/>
              <a:cs typeface="Arial"/>
              <a:sym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828198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828198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2" y="5198700"/>
            <a:ext cx="8281987" cy="50308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noProof="0" smtClean="0"/>
              <a:t>Date</a:t>
            </a:r>
            <a:endParaRPr lang="de-DE" noProof="0"/>
          </a:p>
        </p:txBody>
      </p:sp>
      <p:sp>
        <p:nvSpPr>
          <p:cNvPr id="13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pic>
        <p:nvPicPr>
          <p:cNvPr id="12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91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6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39"/>
            <a:ext cx="5112054" cy="450271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612771"/>
            <a:ext cx="2700858" cy="4489579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996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6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3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83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6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2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4980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4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2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41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1"/>
            <a:ext cx="8280400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238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16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16016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0063" y="1089025"/>
            <a:ext cx="8281987" cy="5237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15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8042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0063" y="1611313"/>
            <a:ext cx="8281987" cy="4491037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13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7963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1987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500063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690138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500063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690138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20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049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2050" y="1611312"/>
            <a:ext cx="8280000" cy="4491038"/>
          </a:xfrm>
          <a:solidFill>
            <a:schemeClr val="accent6"/>
          </a:solidFill>
        </p:spPr>
        <p:txBody>
          <a:bodyPr lIns="144000" tIns="144000" rIns="144000" bIns="144000"/>
          <a:lstStyle>
            <a:lvl1pPr rtl="0">
              <a:buClr>
                <a:schemeClr val="bg2"/>
              </a:buClr>
              <a:defRPr sz="2000"/>
            </a:lvl1pPr>
            <a:lvl2pPr rtl="0"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2050" y="1089025"/>
            <a:ext cx="8280000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11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74150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4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2" y="1611314"/>
            <a:ext cx="8281988" cy="162538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Abschnittsfolie</a:t>
            </a:r>
          </a:p>
        </p:txBody>
      </p:sp>
      <p:sp>
        <p:nvSpPr>
          <p:cNvPr id="9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  <a:cs typeface="Arial"/>
            </a:endParaRPr>
          </a:p>
        </p:txBody>
      </p:sp>
      <p:pic>
        <p:nvPicPr>
          <p:cNvPr id="6" name="Picture 3" descr="Z:\Departments\Creative Services &amp; Copy Shop\Intern\Corp.Design\Brand Evolution_2015\Logo\IMS Logo 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67570" y="6221424"/>
            <a:ext cx="1440000" cy="4149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8809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ea typeface="ＭＳ Ｐゴシック" charset="-128"/>
            </a:endParaRPr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err="1" smtClean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333333"/>
                </a:solidFill>
                <a:ea typeface="ＭＳ Ｐゴシック" charset="-128"/>
              </a:rPr>
              <a:t>QuintilesIMS Mastercharts Teil1</a:t>
            </a:r>
            <a:endParaRPr lang="en-US">
              <a:solidFill>
                <a:srgbClr val="333333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324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4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1611313"/>
            <a:ext cx="8281987" cy="1235337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de-DE" dirty="0" smtClean="0"/>
              <a:t>Zwischen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063" y="2853725"/>
            <a:ext cx="8281987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9450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14490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7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9706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2467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448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QuintilesIMS Mastercharts Teil1</a:t>
            </a:r>
            <a:endParaRPr lang="de-DE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3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29051653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352" name="think-cell Folie" r:id="rId44" imgW="360" imgH="360" progId="TCLayout.ActiveDocument.1">
                  <p:embed/>
                </p:oleObj>
              </mc:Choice>
              <mc:Fallback>
                <p:oleObj name="think-cell Folie" r:id="rId44" imgW="360" imgH="360" progId="TCLayout.ActiveDocument.1">
                  <p:embed/>
                  <p:pic>
                    <p:nvPicPr>
                      <p:cNvPr id="0" name="Picture 3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1649" y="1600200"/>
            <a:ext cx="8266114" cy="450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501651" y="-12616"/>
            <a:ext cx="8266112" cy="94765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endParaRPr lang="de-DE" dirty="0"/>
          </a:p>
        </p:txBody>
      </p:sp>
      <p:sp>
        <p:nvSpPr>
          <p:cNvPr id="25" name="TextBox 8"/>
          <p:cNvSpPr txBox="1"/>
          <p:nvPr/>
        </p:nvSpPr>
        <p:spPr>
          <a:xfrm>
            <a:off x="0" y="6427715"/>
            <a:ext cx="363338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buFont typeface="Arial"/>
              <a:buNone/>
            </a:pPr>
            <a:fld id="{DEF0A56F-D2D0-4957-B6A4-1DC911A5477B}" type="slidenum">
              <a:rPr lang="de-DE" sz="950" smtClean="0">
                <a:solidFill>
                  <a:srgbClr val="8EAFBF"/>
                </a:solidFill>
                <a:latin typeface="Arial" pitchFamily="34" charset="0"/>
                <a:cs typeface="Arial" pitchFamily="34" charset="0"/>
              </a:rPr>
              <a:pPr marL="0" indent="0" algn="r">
                <a:buFont typeface="Arial"/>
                <a:buNone/>
              </a:pPr>
              <a:t>‹Nr.›</a:t>
            </a:fld>
            <a:endParaRPr lang="de-DE" sz="950" dirty="0">
              <a:solidFill>
                <a:srgbClr val="8EAFB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6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8EAFB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QuintilesIMS Mastercharts Teil1</a:t>
            </a:r>
            <a:endParaRPr lang="de-DE" dirty="0"/>
          </a:p>
        </p:txBody>
      </p:sp>
      <p:sp>
        <p:nvSpPr>
          <p:cNvPr id="10" name="TextBox 8"/>
          <p:cNvSpPr txBox="1"/>
          <p:nvPr/>
        </p:nvSpPr>
        <p:spPr>
          <a:xfrm>
            <a:off x="0" y="6427715"/>
            <a:ext cx="363338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buFont typeface="Arial"/>
              <a:buNone/>
            </a:pPr>
            <a:fld id="{DEF0A56F-D2D0-4957-B6A4-1DC911A5477B}" type="slidenum">
              <a:rPr lang="de-DE" sz="950" smtClean="0">
                <a:solidFill>
                  <a:srgbClr val="8EAFBF"/>
                </a:solidFill>
                <a:latin typeface="Arial" pitchFamily="34" charset="0"/>
                <a:cs typeface="Arial" pitchFamily="34" charset="0"/>
              </a:rPr>
              <a:pPr marL="0" indent="0" algn="r">
                <a:buFont typeface="Arial"/>
                <a:buNone/>
              </a:pPr>
              <a:t>‹Nr.›</a:t>
            </a:fld>
            <a:endParaRPr lang="de-DE" sz="950" dirty="0">
              <a:solidFill>
                <a:srgbClr val="8EAFB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95444" y="6353138"/>
            <a:ext cx="0" cy="295349"/>
          </a:xfrm>
          <a:prstGeom prst="line">
            <a:avLst/>
          </a:prstGeom>
          <a:ln w="9525" cmpd="sng">
            <a:solidFill>
              <a:srgbClr val="CACCC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3" descr="Z:\Departments\Creative Services &amp; Copy Shop\Intern\Corp.Design\Brand Evolution_2015\Logo\IMS Logo RGB.jpg"/>
          <p:cNvPicPr>
            <a:picLocks noChangeAspect="1" noChangeArrowheads="1"/>
          </p:cNvPicPr>
          <p:nvPr/>
        </p:nvPicPr>
        <p:blipFill>
          <a:blip r:embed="rId46" cstate="print"/>
          <a:srcRect b="32350"/>
          <a:stretch>
            <a:fillRect/>
          </a:stretch>
        </p:blipFill>
        <p:spPr bwMode="auto">
          <a:xfrm>
            <a:off x="7267570" y="6316664"/>
            <a:ext cx="1440000" cy="280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3817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22" r:id="rId3"/>
    <p:sldLayoutId id="2147483805" r:id="rId4"/>
    <p:sldLayoutId id="2147483806" r:id="rId5"/>
    <p:sldLayoutId id="2147483807" r:id="rId6"/>
    <p:sldLayoutId id="2147483841" r:id="rId7"/>
    <p:sldLayoutId id="2147483869" r:id="rId8"/>
    <p:sldLayoutId id="2147483808" r:id="rId9"/>
    <p:sldLayoutId id="2147483870" r:id="rId10"/>
    <p:sldLayoutId id="2147483809" r:id="rId11"/>
    <p:sldLayoutId id="2147483823" r:id="rId12"/>
    <p:sldLayoutId id="2147483838" r:id="rId13"/>
    <p:sldLayoutId id="2147483839" r:id="rId14"/>
    <p:sldLayoutId id="2147483871" r:id="rId15"/>
    <p:sldLayoutId id="2147483810" r:id="rId16"/>
    <p:sldLayoutId id="2147483872" r:id="rId17"/>
    <p:sldLayoutId id="2147483885" r:id="rId18"/>
    <p:sldLayoutId id="2147483811" r:id="rId19"/>
    <p:sldLayoutId id="2147483873" r:id="rId20"/>
    <p:sldLayoutId id="2147483840" r:id="rId21"/>
    <p:sldLayoutId id="2147483844" r:id="rId22"/>
    <p:sldLayoutId id="2147483812" r:id="rId23"/>
    <p:sldLayoutId id="2147483874" r:id="rId24"/>
    <p:sldLayoutId id="2147483836" r:id="rId25"/>
    <p:sldLayoutId id="2147483843" r:id="rId26"/>
    <p:sldLayoutId id="2147483813" r:id="rId27"/>
    <p:sldLayoutId id="2147483875" r:id="rId28"/>
    <p:sldLayoutId id="2147483837" r:id="rId29"/>
    <p:sldLayoutId id="2147483814" r:id="rId30"/>
    <p:sldLayoutId id="2147483815" r:id="rId31"/>
    <p:sldLayoutId id="2147483876" r:id="rId32"/>
    <p:sldLayoutId id="2147483816" r:id="rId33"/>
    <p:sldLayoutId id="2147483877" r:id="rId34"/>
    <p:sldLayoutId id="2147483817" r:id="rId35"/>
    <p:sldLayoutId id="2147483818" r:id="rId36"/>
    <p:sldLayoutId id="2147483819" r:id="rId37"/>
    <p:sldLayoutId id="2147483820" r:id="rId38"/>
    <p:sldLayoutId id="2147483821" r:id="rId39"/>
    <p:sldLayoutId id="2147483917" r:id="rId40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9144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002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0" dirty="0" smtClean="0"/>
              <a:t>Abbildung 1: Häufigste Frakturarten in der betroffenen Studiengruppe </a:t>
            </a:r>
            <a:endParaRPr lang="en-US" b="0" dirty="0"/>
          </a:p>
        </p:txBody>
      </p:sp>
      <p:graphicFrame>
        <p:nvGraphicFramePr>
          <p:cNvPr id="5" name="Content Placeholder 11"/>
          <p:cNvGraphicFramePr>
            <a:graphicFrameLocks/>
          </p:cNvGraphicFramePr>
          <p:nvPr>
            <p:extLst/>
          </p:nvPr>
        </p:nvGraphicFramePr>
        <p:xfrm>
          <a:off x="679144" y="1556792"/>
          <a:ext cx="7709280" cy="4216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32"/>
          <p:cNvSpPr txBox="1"/>
          <p:nvPr/>
        </p:nvSpPr>
        <p:spPr>
          <a:xfrm>
            <a:off x="2555776" y="1484784"/>
            <a:ext cx="31237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  <a:latin typeface="+mn-lt"/>
                <a:ea typeface="+mn-ea"/>
                <a:cs typeface="Arial" pitchFamily="34" charset="0"/>
              </a:rPr>
              <a:t>Frakturen</a:t>
            </a:r>
            <a:r>
              <a:rPr lang="en-US" sz="1400" b="1" dirty="0" smtClean="0">
                <a:solidFill>
                  <a:srgbClr val="000000"/>
                </a:solidFill>
                <a:latin typeface="+mn-lt"/>
                <a:ea typeface="+mn-ea"/>
                <a:cs typeface="Arial" pitchFamily="34" charset="0"/>
              </a:rPr>
              <a:t> an</a:t>
            </a:r>
            <a:endParaRPr lang="en-US" sz="1400" b="1" dirty="0">
              <a:solidFill>
                <a:srgbClr val="000000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2" name="Text Placeholder 12"/>
          <p:cNvSpPr txBox="1">
            <a:spLocks/>
          </p:cNvSpPr>
          <p:nvPr/>
        </p:nvSpPr>
        <p:spPr>
          <a:xfrm>
            <a:off x="460374" y="5958522"/>
            <a:ext cx="6961371" cy="3349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None/>
              <a:defRPr sz="900" b="0" i="0" kern="1200" baseline="0">
                <a:solidFill>
                  <a:srgbClr val="545454"/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18" name="Textplatzhalter 40"/>
          <p:cNvSpPr>
            <a:spLocks noGrp="1"/>
          </p:cNvSpPr>
          <p:nvPr>
            <p:ph type="body" sz="quarter" idx="11"/>
          </p:nvPr>
        </p:nvSpPr>
        <p:spPr>
          <a:xfrm>
            <a:off x="395536" y="1052736"/>
            <a:ext cx="8265651" cy="524671"/>
          </a:xfrm>
        </p:spPr>
        <p:txBody>
          <a:bodyPr/>
          <a:lstStyle/>
          <a:p>
            <a:pPr lvl="0"/>
            <a:r>
              <a:rPr lang="de-DE" dirty="0" smtClean="0"/>
              <a:t>Zeitraum 2010 – 2015, N = 1.447</a:t>
            </a:r>
            <a:endParaRPr lang="de-DE" dirty="0"/>
          </a:p>
        </p:txBody>
      </p:sp>
      <p:sp>
        <p:nvSpPr>
          <p:cNvPr id="19" name="Rechteck 18"/>
          <p:cNvSpPr/>
          <p:nvPr/>
        </p:nvSpPr>
        <p:spPr>
          <a:xfrm>
            <a:off x="395536" y="1052736"/>
            <a:ext cx="7704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dirty="0" smtClean="0">
                <a:solidFill>
                  <a:schemeClr val="bg2"/>
                </a:solidFill>
              </a:rPr>
              <a:t>Zeitraum 2010 – 2015, N = 1.447</a:t>
            </a:r>
            <a:endParaRPr lang="de-DE" dirty="0">
              <a:solidFill>
                <a:schemeClr val="bg2"/>
              </a:solidFill>
            </a:endParaRP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501650" y="5948462"/>
            <a:ext cx="179376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 anchorCtr="0">
            <a:spAutoFit/>
          </a:bodyPr>
          <a:lstStyle/>
          <a:p>
            <a:pPr defTabSz="628650" eaLnBrk="0" hangingPunct="0"/>
            <a:r>
              <a:rPr lang="de-DE" sz="1000" b="0" dirty="0">
                <a:latin typeface="Arial"/>
                <a:cs typeface="Arial"/>
                <a:sym typeface="Arial"/>
              </a:rPr>
              <a:t>Quelle: </a:t>
            </a:r>
            <a:r>
              <a:rPr lang="de-DE" sz="1000" dirty="0" smtClean="0"/>
              <a:t>IMS</a:t>
            </a:r>
            <a:r>
              <a:rPr lang="de-DE" sz="1000" baseline="30000" dirty="0" smtClean="0"/>
              <a:t>®</a:t>
            </a:r>
            <a:r>
              <a:rPr lang="de-DE" sz="1000" dirty="0" smtClean="0"/>
              <a:t> </a:t>
            </a:r>
            <a:r>
              <a:rPr lang="de-DE" sz="1000" dirty="0" err="1" smtClean="0"/>
              <a:t>Disease</a:t>
            </a:r>
            <a:r>
              <a:rPr lang="de-DE" sz="1000" dirty="0" smtClean="0"/>
              <a:t> Analyzer </a:t>
            </a:r>
            <a:endParaRPr lang="de-DE" sz="1000" b="0" dirty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214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68320611931390029525E+00&quot;&gt;&lt;m_msothmcolidx val=&quot;0&quot;/&gt;&lt;m_rgb r=&quot;FF&quot; g=&quot;94&quot; b=&quot;0C&quot;/&gt;&lt;m_nBrightness val=&quot;0&quot;/&gt;&lt;/elem&gt;&lt;elem m_fUsage=&quot;2.14162195091011575698E+00&quot;&gt;&lt;m_msothmcolidx val=&quot;0&quot;/&gt;&lt;m_rgb r=&quot;20&quot; g=&quot;C2&quot; b=&quot;2F&quot;/&gt;&lt;m_nBrightness val=&quot;0&quot;/&gt;&lt;/elem&gt;&lt;elem m_fUsage=&quot;1.76776792454961007017E+00&quot;&gt;&lt;m_msothmcolidx val=&quot;0&quot;/&gt;&lt;m_rgb r=&quot;29&quot; g=&quot;7D&quot; b=&quot;FD&quot;/&gt;&lt;m_nBrightness val=&quot;0&quot;/&gt;&lt;/elem&gt;&lt;elem m_fUsage=&quot;1.48160993818464925553E+00&quot;&gt;&lt;m_msothmcolidx val=&quot;0&quot;/&gt;&lt;m_rgb r=&quot;37&quot; g=&quot;DA&quot; b=&quot;D3&quot;/&gt;&lt;m_nBrightness val=&quot;0&quot;/&gt;&lt;/elem&gt;&lt;elem m_fUsage=&quot;2.07896079349873530440E-01&quot;&gt;&lt;m_msothmcolidx val=&quot;0&quot;/&gt;&lt;m_rgb r=&quot;15&quot; g=&quot;80&quot; b=&quot;2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IMS 2015">
      <a:dk1>
        <a:srgbClr val="000000"/>
      </a:dk1>
      <a:lt1>
        <a:sysClr val="window" lastClr="FFFFFF"/>
      </a:lt1>
      <a:dk2>
        <a:srgbClr val="1C2980"/>
      </a:dk2>
      <a:lt2>
        <a:srgbClr val="25B4FF"/>
      </a:lt2>
      <a:accent1>
        <a:srgbClr val="1C2980"/>
      </a:accent1>
      <a:accent2>
        <a:srgbClr val="FFCF32"/>
      </a:accent2>
      <a:accent3>
        <a:srgbClr val="37DAD3"/>
      </a:accent3>
      <a:accent4>
        <a:srgbClr val="FB4F39"/>
      </a:accent4>
      <a:accent5>
        <a:srgbClr val="20C22F"/>
      </a:accent5>
      <a:accent6>
        <a:srgbClr val="D1DFE5"/>
      </a:accent6>
      <a:hlink>
        <a:srgbClr val="8EAFBF"/>
      </a:hlink>
      <a:folHlink>
        <a:srgbClr val="FB4F3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>
          <a:solidFill>
            <a:schemeClr val="accent1"/>
          </a:solidFill>
          <a:round/>
          <a:headEnd/>
          <a:tailEnd type="triangle" w="med" len="med"/>
        </a:ln>
      </a:spPr>
      <a:bodyPr/>
      <a:lstStyle>
        <a:defPPr algn="ctr">
          <a:defRPr>
            <a:latin typeface="Arial"/>
            <a:cs typeface="Arial"/>
            <a:sym typeface="Arial"/>
          </a:defRPr>
        </a:defPPr>
      </a:lst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Navy">
      <a:srgbClr val="1C2980"/>
    </a:custClr>
    <a:custClr name="IMS Atmosphere">
      <a:srgbClr val="25B4FF"/>
    </a:custClr>
    <a:custClr name="IMS Teal">
      <a:srgbClr val="37DAD3"/>
    </a:custClr>
    <a:custClr name="IMS Yellow">
      <a:srgbClr val="FFCF32"/>
    </a:custClr>
    <a:custClr name="IMS Green">
      <a:srgbClr val="20C22F"/>
    </a:custClr>
    <a:custClr name="IMS Orange">
      <a:srgbClr val="FF940C"/>
    </a:custClr>
    <a:custClr name="IMS Blue">
      <a:srgbClr val="297DFD"/>
    </a:custClr>
    <a:custClr name="IMS Charcoal">
      <a:srgbClr val="3A4F5A"/>
    </a:custClr>
    <a:custClr name="IMS Gray">
      <a:srgbClr val="8EAFBF"/>
    </a:custClr>
    <a:custClr name="IMS Coral">
      <a:srgbClr val="FB4F39"/>
    </a:custClr>
    <a:custClr name="IMS Natural">
      <a:srgbClr val="F7F5F4"/>
    </a:custClr>
  </a:custClrLst>
</a:theme>
</file>

<file path=ppt/theme/theme2.xml><?xml version="1.0" encoding="utf-8"?>
<a:theme xmlns:a="http://schemas.openxmlformats.org/drawingml/2006/main" name="Office Theme">
  <a:themeElements>
    <a:clrScheme name="IMS (june'12)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08080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3.xml><?xml version="1.0" encoding="utf-8"?>
<a:theme xmlns:a="http://schemas.openxmlformats.org/drawingml/2006/main" name="Office Theme">
  <a:themeElements>
    <a:clrScheme name="IMS (june'12)">
      <a:dk1>
        <a:srgbClr val="111111"/>
      </a:dk1>
      <a:lt1>
        <a:srgbClr val="FFFFFF"/>
      </a:lt1>
      <a:dk2>
        <a:srgbClr val="0E0733"/>
      </a:dk2>
      <a:lt2>
        <a:srgbClr val="2E8D9E"/>
      </a:lt2>
      <a:accent1>
        <a:srgbClr val="80561B"/>
      </a:accent1>
      <a:accent2>
        <a:srgbClr val="0F6800"/>
      </a:accent2>
      <a:accent3>
        <a:srgbClr val="002868"/>
      </a:accent3>
      <a:accent4>
        <a:srgbClr val="992135"/>
      </a:accent4>
      <a:accent5>
        <a:srgbClr val="808080"/>
      </a:accent5>
      <a:accent6>
        <a:srgbClr val="C0C0C0"/>
      </a:accent6>
      <a:hlink>
        <a:srgbClr val="002868"/>
      </a:hlink>
      <a:folHlink>
        <a:srgbClr val="992135"/>
      </a:folHlink>
    </a:clrScheme>
    <a:fontScheme name="IMS Font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Orange">
      <a:srgbClr val="F98F1E"/>
    </a:custClr>
    <a:custClr name="IMS Blue">
      <a:srgbClr val="4F8ABE"/>
    </a:custClr>
    <a:custClr name="IMS New Green">
      <a:srgbClr val="9BB819"/>
    </a:custClr>
    <a:custClr name="IMS Dark Blue">
      <a:srgbClr val="002868"/>
    </a:custClr>
    <a:custClr name="IMS Cyan">
      <a:srgbClr val="69C0C9"/>
    </a:custClr>
    <a:custClr name="IMS Gray">
      <a:srgbClr val="848484"/>
    </a:custClr>
    <a:custClr name="IMS Light Blue">
      <a:srgbClr val="D5E4F3"/>
    </a:custClr>
    <a:custClr name="IMS Stone">
      <a:srgbClr val="C5C19D"/>
    </a:custClr>
    <a:custClr name="IMS Red">
      <a:srgbClr val="992135"/>
    </a:custClr>
    <a:custClr name="IMS Clay">
      <a:srgbClr val="B7A08B"/>
    </a:custClr>
    <a:custClr name="IMS New Seafoam">
      <a:srgbClr val="73AFB6"/>
    </a:custClr>
    <a:custClr name="IMS Yellow">
      <a:srgbClr val="FDC630"/>
    </a:custClr>
    <a:custClr name="IMS Brown">
      <a:srgbClr val="80561B"/>
    </a:custClr>
    <a:custClr name="IMS Light Warm Gray">
      <a:srgbClr val="E9E3DC"/>
    </a:custClr>
  </a:custClrLst>
</a:theme>
</file>

<file path=ppt/theme/themeOverride1.xml><?xml version="1.0" encoding="utf-8"?>
<a:themeOverride xmlns:a="http://schemas.openxmlformats.org/drawingml/2006/main">
  <a:clrScheme name="IMS 2015">
    <a:dk1>
      <a:srgbClr val="000000"/>
    </a:dk1>
    <a:lt1>
      <a:sysClr val="window" lastClr="FFFFFF"/>
    </a:lt1>
    <a:dk2>
      <a:srgbClr val="8EAFBF"/>
    </a:dk2>
    <a:lt2>
      <a:srgbClr val="D9DAD5"/>
    </a:lt2>
    <a:accent1>
      <a:srgbClr val="25B4FF"/>
    </a:accent1>
    <a:accent2>
      <a:srgbClr val="1C2980"/>
    </a:accent2>
    <a:accent3>
      <a:srgbClr val="37DAD3"/>
    </a:accent3>
    <a:accent4>
      <a:srgbClr val="FFCF32"/>
    </a:accent4>
    <a:accent5>
      <a:srgbClr val="20C22F"/>
    </a:accent5>
    <a:accent6>
      <a:srgbClr val="FF940C"/>
    </a:accent6>
    <a:hlink>
      <a:srgbClr val="297DFD"/>
    </a:hlink>
    <a:folHlink>
      <a:srgbClr val="2C3E48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ildschirmpräsentation (4:3)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Verdana</vt:lpstr>
      <vt:lpstr>blank</vt:lpstr>
      <vt:lpstr>think-cell Folie</vt:lpstr>
      <vt:lpstr>Abbildung 1: Häufigste Frakturarten in der betroffenen Studiengruppe </vt:lpstr>
    </vt:vector>
  </TitlesOfParts>
  <Company>IMS HEALT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charts</dc:title>
  <dc:creator>dpabst</dc:creator>
  <dc:description>1st May 2013. (Pass 8)</dc:description>
  <cp:lastModifiedBy>Nadine Dippel</cp:lastModifiedBy>
  <cp:revision>1240</cp:revision>
  <dcterms:created xsi:type="dcterms:W3CDTF">2015-06-03T12:16:01Z</dcterms:created>
  <dcterms:modified xsi:type="dcterms:W3CDTF">2017-08-17T09:53:44Z</dcterms:modified>
</cp:coreProperties>
</file>